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9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CDCDCD"/>
    <a:srgbClr val="F6F6F6"/>
    <a:srgbClr val="5A5A5A"/>
    <a:srgbClr val="8D8D8D"/>
    <a:srgbClr val="C60018"/>
    <a:srgbClr val="444444"/>
    <a:srgbClr val="E5E5E5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6B30AA60-6346-44CC-8A60-4D3BD6D9DEB8}"/>
    <pc:docChg chg="delSld">
      <pc:chgData name="Meyer Raphael (PAR-ES)" userId="79615dfe-ed48-4e74-a40f-4f7b034c1c27" providerId="ADAL" clId="{6B30AA60-6346-44CC-8A60-4D3BD6D9DEB8}" dt="2022-03-03T14:52:23.767" v="0" actId="47"/>
      <pc:docMkLst>
        <pc:docMk/>
      </pc:docMkLst>
      <pc:sldChg chg="del">
        <pc:chgData name="Meyer Raphael (PAR-ES)" userId="79615dfe-ed48-4e74-a40f-4f7b034c1c27" providerId="ADAL" clId="{6B30AA60-6346-44CC-8A60-4D3BD6D9DEB8}" dt="2022-03-03T14:52:23.767" v="0" actId="47"/>
        <pc:sldMkLst>
          <pc:docMk/>
          <pc:sldMk cId="2001825019" sldId="407"/>
        </pc:sldMkLst>
      </pc:sldChg>
      <pc:sldChg chg="del">
        <pc:chgData name="Meyer Raphael (PAR-ES)" userId="79615dfe-ed48-4e74-a40f-4f7b034c1c27" providerId="ADAL" clId="{6B30AA60-6346-44CC-8A60-4D3BD6D9DEB8}" dt="2022-03-03T14:52:23.767" v="0" actId="47"/>
        <pc:sldMkLst>
          <pc:docMk/>
          <pc:sldMk cId="2775483100" sldId="408"/>
        </pc:sldMkLst>
      </pc:sldChg>
      <pc:sldChg chg="del">
        <pc:chgData name="Meyer Raphael (PAR-ES)" userId="79615dfe-ed48-4e74-a40f-4f7b034c1c27" providerId="ADAL" clId="{6B30AA60-6346-44CC-8A60-4D3BD6D9DEB8}" dt="2022-03-03T14:52:23.767" v="0" actId="47"/>
        <pc:sldMkLst>
          <pc:docMk/>
          <pc:sldMk cId="287567285" sldId="410"/>
        </pc:sldMkLst>
      </pc:sldChg>
    </pc:docChg>
  </pc:docChgLst>
  <pc:docChgLst>
    <pc:chgData name="Weigel Stefan (PAR-EPS)" userId="fd3b2067-2981-4ad8-bf3a-d2e1004e4fa8" providerId="ADAL" clId="{0C8F0512-70F3-4098-B3D9-955AE76797FC}"/>
    <pc:docChg chg="modSld">
      <pc:chgData name="Weigel Stefan (PAR-EPS)" userId="fd3b2067-2981-4ad8-bf3a-d2e1004e4fa8" providerId="ADAL" clId="{0C8F0512-70F3-4098-B3D9-955AE76797FC}" dt="2025-02-24T08:16:07.481" v="2" actId="27918"/>
      <pc:docMkLst>
        <pc:docMk/>
      </pc:docMkLst>
      <pc:sldChg chg="mod">
        <pc:chgData name="Weigel Stefan (PAR-EPS)" userId="fd3b2067-2981-4ad8-bf3a-d2e1004e4fa8" providerId="ADAL" clId="{0C8F0512-70F3-4098-B3D9-955AE76797FC}" dt="2025-02-24T08:16:07.481" v="2" actId="27918"/>
        <pc:sldMkLst>
          <pc:docMk/>
          <pc:sldMk cId="236440730" sldId="409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PAR-EPS)" userId="fd3b2067-2981-4ad8-bf3a-d2e1004e4fa8" providerId="ADAL" clId="{068C4338-9E33-4030-91DF-2C7105B350DB}"/>
    <pc:docChg chg="custSel modSld">
      <pc:chgData name="Weigel Stefan (PAR-EPS)" userId="fd3b2067-2981-4ad8-bf3a-d2e1004e4fa8" providerId="ADAL" clId="{068C4338-9E33-4030-91DF-2C7105B350DB}" dt="2024-02-01T17:20:43.780" v="16" actId="790"/>
      <pc:docMkLst>
        <pc:docMk/>
      </pc:docMkLst>
      <pc:sldChg chg="modSp mod">
        <pc:chgData name="Weigel Stefan (PAR-EPS)" userId="fd3b2067-2981-4ad8-bf3a-d2e1004e4fa8" providerId="ADAL" clId="{068C4338-9E33-4030-91DF-2C7105B350DB}" dt="2024-02-01T17:20:43.780" v="16" actId="790"/>
        <pc:sldMkLst>
          <pc:docMk/>
          <pc:sldMk cId="236440730" sldId="409"/>
        </pc:sldMkLst>
        <pc:spChg chg="mod">
          <ac:chgData name="Weigel Stefan (PAR-EPS)" userId="fd3b2067-2981-4ad8-bf3a-d2e1004e4fa8" providerId="ADAL" clId="{068C4338-9E33-4030-91DF-2C7105B350DB}" dt="2024-02-01T17:20:43.780" v="16" actId="790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68C4338-9E33-4030-91DF-2C7105B350DB}" dt="2024-02-01T17:20:26.528" v="15" actId="20577"/>
          <ac:spMkLst>
            <pc:docMk/>
            <pc:sldMk cId="236440730" sldId="409"/>
            <ac:spMk id="10" creationId="{A3DB4B5C-8AF8-4D76-8E11-2708D942356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019F8519-991A-42F8-8A00-1073315C524B}"/>
    <pc:docChg chg="custSel addSld delSld modSld sldOrd">
      <pc:chgData name="Meyer Raphael (PAR-ES)" userId="79615dfe-ed48-4e74-a40f-4f7b034c1c27" providerId="ADAL" clId="{019F8519-991A-42F8-8A00-1073315C524B}" dt="2022-03-03T14:42:21.972" v="53" actId="27918"/>
      <pc:docMkLst>
        <pc:docMk/>
      </pc:docMkLst>
      <pc:sldChg chg="modSp mod">
        <pc:chgData name="Meyer Raphael (PAR-ES)" userId="79615dfe-ed48-4e74-a40f-4f7b034c1c27" providerId="ADAL" clId="{019F8519-991A-42F8-8A00-1073315C524B}" dt="2022-03-03T14:34:57.432" v="7" actId="27918"/>
        <pc:sldMkLst>
          <pc:docMk/>
          <pc:sldMk cId="2001825019" sldId="407"/>
        </pc:sldMkLst>
        <pc:graphicFrameChg chg="mod">
          <ac:chgData name="Meyer Raphael (PAR-ES)" userId="79615dfe-ed48-4e74-a40f-4f7b034c1c27" providerId="ADAL" clId="{019F8519-991A-42F8-8A00-1073315C524B}" dt="2022-03-03T14:34:25.718" v="4"/>
          <ac:graphicFrameMkLst>
            <pc:docMk/>
            <pc:sldMk cId="2001825019" sldId="407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19F8519-991A-42F8-8A00-1073315C524B}" dt="2022-03-03T14:40:31.808" v="38" actId="27918"/>
        <pc:sldMkLst>
          <pc:docMk/>
          <pc:sldMk cId="2775483100" sldId="408"/>
        </pc:sldMkLst>
        <pc:spChg chg="mod">
          <ac:chgData name="Meyer Raphael (PAR-ES)" userId="79615dfe-ed48-4e74-a40f-4f7b034c1c27" providerId="ADAL" clId="{019F8519-991A-42F8-8A00-1073315C524B}" dt="2022-03-03T14:39:21.783" v="23"/>
          <ac:spMkLst>
            <pc:docMk/>
            <pc:sldMk cId="2775483100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9:35.158" v="25" actId="20577"/>
          <ac:spMkLst>
            <pc:docMk/>
            <pc:sldMk cId="2775483100" sldId="408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39:57.410" v="31" actId="20577"/>
          <ac:spMkLst>
            <pc:docMk/>
            <pc:sldMk cId="2775483100" sldId="408"/>
            <ac:spMk id="10" creationId="{A3DB4B5C-8AF8-4D76-8E11-2708D9423565}"/>
          </ac:spMkLst>
        </pc:spChg>
      </pc:sldChg>
      <pc:sldChg chg="del">
        <pc:chgData name="Meyer Raphael (PAR-ES)" userId="79615dfe-ed48-4e74-a40f-4f7b034c1c27" providerId="ADAL" clId="{019F8519-991A-42F8-8A00-1073315C524B}" dt="2022-03-03T14:32:30.075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019F8519-991A-42F8-8A00-1073315C524B}" dt="2022-03-03T14:42:21.972" v="53" actId="27918"/>
        <pc:sldMkLst>
          <pc:docMk/>
          <pc:sldMk cId="236440730" sldId="409"/>
        </pc:sldMkLst>
        <pc:spChg chg="mod">
          <ac:chgData name="Meyer Raphael (PAR-ES)" userId="79615dfe-ed48-4e74-a40f-4f7b034c1c27" providerId="ADAL" clId="{019F8519-991A-42F8-8A00-1073315C524B}" dt="2022-03-03T14:41:17.944" v="39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41:30.816" v="41" actId="20577"/>
          <ac:spMkLst>
            <pc:docMk/>
            <pc:sldMk cId="236440730" sldId="409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41:48.239" v="46" actId="20577"/>
          <ac:spMkLst>
            <pc:docMk/>
            <pc:sldMk cId="236440730" sldId="409"/>
            <ac:spMk id="10" creationId="{A3DB4B5C-8AF8-4D76-8E11-2708D9423565}"/>
          </ac:spMkLst>
        </pc:spChg>
      </pc:sldChg>
      <pc:sldChg chg="modSp add mod ord">
        <pc:chgData name="Meyer Raphael (PAR-ES)" userId="79615dfe-ed48-4e74-a40f-4f7b034c1c27" providerId="ADAL" clId="{019F8519-991A-42F8-8A00-1073315C524B}" dt="2022-03-03T14:38:53.634" v="22"/>
        <pc:sldMkLst>
          <pc:docMk/>
          <pc:sldMk cId="287567285" sldId="410"/>
        </pc:sldMkLst>
        <pc:spChg chg="mod">
          <ac:chgData name="Meyer Raphael (PAR-ES)" userId="79615dfe-ed48-4e74-a40f-4f7b034c1c27" providerId="ADAL" clId="{019F8519-991A-42F8-8A00-1073315C524B}" dt="2022-03-03T14:36:27.101" v="11"/>
          <ac:spMkLst>
            <pc:docMk/>
            <pc:sldMk cId="287567285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6:37.807" v="13" actId="20577"/>
          <ac:spMkLst>
            <pc:docMk/>
            <pc:sldMk cId="287567285" sldId="410"/>
            <ac:spMk id="8" creationId="{41FD5CBC-8C89-4499-B28B-5EC68806F1EB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Weigel Stefan (PAR-EPS)" userId="fd3b2067-2981-4ad8-bf3a-d2e1004e4fa8" providerId="ADAL" clId="{723B7C47-820C-47EF-9336-D3F3005F26D8}"/>
    <pc:docChg chg="modSld">
      <pc:chgData name="Weigel Stefan (PAR-EPS)" userId="fd3b2067-2981-4ad8-bf3a-d2e1004e4fa8" providerId="ADAL" clId="{723B7C47-820C-47EF-9336-D3F3005F26D8}" dt="2024-04-22T11:35:16.084" v="15" actId="1076"/>
      <pc:docMkLst>
        <pc:docMk/>
      </pc:docMkLst>
      <pc:sldChg chg="modSp mod setBg">
        <pc:chgData name="Weigel Stefan (PAR-EPS)" userId="fd3b2067-2981-4ad8-bf3a-d2e1004e4fa8" providerId="ADAL" clId="{723B7C47-820C-47EF-9336-D3F3005F26D8}" dt="2024-04-22T11:35:16.084" v="15" actId="1076"/>
        <pc:sldMkLst>
          <pc:docMk/>
          <pc:sldMk cId="236440730" sldId="409"/>
        </pc:sldMkLst>
        <pc:spChg chg="mod">
          <ac:chgData name="Weigel Stefan (PAR-EPS)" userId="fd3b2067-2981-4ad8-bf3a-d2e1004e4fa8" providerId="ADAL" clId="{723B7C47-820C-47EF-9336-D3F3005F26D8}" dt="2024-04-22T11:33:26.768" v="0"/>
          <ac:spMkLst>
            <pc:docMk/>
            <pc:sldMk cId="236440730" sldId="409"/>
            <ac:spMk id="8" creationId="{41FD5CBC-8C89-4499-B28B-5EC68806F1EB}"/>
          </ac:spMkLst>
        </pc:spChg>
        <pc:spChg chg="mod">
          <ac:chgData name="Weigel Stefan (PAR-EPS)" userId="fd3b2067-2981-4ad8-bf3a-d2e1004e4fa8" providerId="ADAL" clId="{723B7C47-820C-47EF-9336-D3F3005F26D8}" dt="2024-04-22T11:35:16.084" v="15" actId="1076"/>
          <ac:spMkLst>
            <pc:docMk/>
            <pc:sldMk cId="236440730" sldId="409"/>
            <ac:spMk id="10" creationId="{A3DB4B5C-8AF8-4D76-8E11-2708D9423565}"/>
          </ac:spMkLst>
        </pc:spChg>
        <pc:graphicFrameChg chg="mod">
          <ac:chgData name="Weigel Stefan (PAR-EPS)" userId="fd3b2067-2981-4ad8-bf3a-d2e1004e4fa8" providerId="ADAL" clId="{723B7C47-820C-47EF-9336-D3F3005F26D8}" dt="2024-04-22T11:35:08.661" v="14"/>
          <ac:graphicFrameMkLst>
            <pc:docMk/>
            <pc:sldMk cId="236440730" sldId="409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0C0285D-C46A-4F7E-956E-29BA83B7B0A3}"/>
    <pc:docChg chg="custSel modSld">
      <pc:chgData name="Meyer Raphael (PAR-ES)" userId="79615dfe-ed48-4e74-a40f-4f7b034c1c27" providerId="ADAL" clId="{A0C0285D-C46A-4F7E-956E-29BA83B7B0A3}" dt="2023-02-24T11:09:05.071" v="4" actId="478"/>
      <pc:docMkLst>
        <pc:docMk/>
      </pc:docMkLst>
      <pc:sldChg chg="delSp mod">
        <pc:chgData name="Meyer Raphael (PAR-ES)" userId="79615dfe-ed48-4e74-a40f-4f7b034c1c27" providerId="ADAL" clId="{A0C0285D-C46A-4F7E-956E-29BA83B7B0A3}" dt="2023-02-24T11:09:05.071" v="4" actId="478"/>
        <pc:sldMkLst>
          <pc:docMk/>
          <pc:sldMk cId="236440730" sldId="409"/>
        </pc:sldMkLst>
        <pc:spChg chg="del">
          <ac:chgData name="Meyer Raphael (PAR-ES)" userId="79615dfe-ed48-4e74-a40f-4f7b034c1c27" providerId="ADAL" clId="{A0C0285D-C46A-4F7E-956E-29BA83B7B0A3}" dt="2023-02-24T11:09:05.071" v="4" actId="478"/>
          <ac:spMkLst>
            <pc:docMk/>
            <pc:sldMk cId="236440730" sldId="409"/>
            <ac:spMk id="11" creationId="{045A27AD-E3C8-4822-85DF-F2C9129A4E35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695063317048331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Traffico viaggiatori</c:v>
                </c:pt>
              </c:strCache>
            </c:strRef>
          </c:tx>
          <c:spPr>
            <a:solidFill>
              <a:srgbClr val="CDCDCD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263.012500000001</c:v>
                </c:pt>
                <c:pt idx="1">
                  <c:v>14269.518333333301</c:v>
                </c:pt>
                <c:pt idx="2">
                  <c:v>14278.76</c:v>
                </c:pt>
                <c:pt idx="3">
                  <c:v>14234.0841666667</c:v>
                </c:pt>
                <c:pt idx="4">
                  <c:v>13989.9183333333</c:v>
                </c:pt>
                <c:pt idx="5">
                  <c:v>14192.7133333333</c:v>
                </c:pt>
                <c:pt idx="6">
                  <c:v>14680.4273333333</c:v>
                </c:pt>
                <c:pt idx="7">
                  <c:v>15055.8178333333</c:v>
                </c:pt>
                <c:pt idx="8">
                  <c:v>15124.152</c:v>
                </c:pt>
                <c:pt idx="9">
                  <c:v>15304.7903333333</c:v>
                </c:pt>
                <c:pt idx="10">
                  <c:v>15679.432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16.52</c:v>
                </c:pt>
                <c:pt idx="1">
                  <c:v>816.73749999999995</c:v>
                </c:pt>
                <c:pt idx="2">
                  <c:v>791.30833333333305</c:v>
                </c:pt>
                <c:pt idx="3">
                  <c:v>779.07666666666705</c:v>
                </c:pt>
                <c:pt idx="4">
                  <c:v>775.75833333333298</c:v>
                </c:pt>
                <c:pt idx="5">
                  <c:v>790.16250000000002</c:v>
                </c:pt>
                <c:pt idx="6">
                  <c:v>793.05</c:v>
                </c:pt>
                <c:pt idx="7">
                  <c:v>780.30416666666702</c:v>
                </c:pt>
                <c:pt idx="8">
                  <c:v>1012.3375</c:v>
                </c:pt>
                <c:pt idx="9">
                  <c:v>1111.9875</c:v>
                </c:pt>
                <c:pt idx="10">
                  <c:v>116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fico merci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2995.4666666666699</c:v>
                </c:pt>
                <c:pt idx="1">
                  <c:v>3111.4358333333298</c:v>
                </c:pt>
                <c:pt idx="2">
                  <c:v>3075.0916666666699</c:v>
                </c:pt>
                <c:pt idx="3">
                  <c:v>3114.4974999999999</c:v>
                </c:pt>
                <c:pt idx="4">
                  <c:v>3084.3791666666698</c:v>
                </c:pt>
                <c:pt idx="5">
                  <c:v>3131.9108333333302</c:v>
                </c:pt>
                <c:pt idx="6">
                  <c:v>3225.45166666667</c:v>
                </c:pt>
                <c:pt idx="7">
                  <c:v>3222.3150000000001</c:v>
                </c:pt>
                <c:pt idx="8">
                  <c:v>3283.7908333333298</c:v>
                </c:pt>
                <c:pt idx="9">
                  <c:v>3382.0668333333301</c:v>
                </c:pt>
                <c:pt idx="10">
                  <c:v>3388.279166666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ttura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375.9333333333</c:v>
                </c:pt>
                <c:pt idx="1">
                  <c:v>10313.2808333333</c:v>
                </c:pt>
                <c:pt idx="2">
                  <c:v>10322.555</c:v>
                </c:pt>
                <c:pt idx="3">
                  <c:v>10077.1675</c:v>
                </c:pt>
                <c:pt idx="4">
                  <c:v>9857.0010000000002</c:v>
                </c:pt>
                <c:pt idx="5">
                  <c:v>9776.7006666666693</c:v>
                </c:pt>
                <c:pt idx="6">
                  <c:v>9978.1352499999994</c:v>
                </c:pt>
                <c:pt idx="7">
                  <c:v>9999.1679999999997</c:v>
                </c:pt>
                <c:pt idx="8">
                  <c:v>9834.6158333333296</c:v>
                </c:pt>
                <c:pt idx="9">
                  <c:v>10060.2183333333</c:v>
                </c:pt>
                <c:pt idx="10">
                  <c:v>10152.6641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Settori centrali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4405.7124999999996</c:v>
                </c:pt>
                <c:pt idx="1">
                  <c:v>4570.2008333333297</c:v>
                </c:pt>
                <c:pt idx="2">
                  <c:v>4650.9224999999997</c:v>
                </c:pt>
                <c:pt idx="3">
                  <c:v>4549.5791666666701</c:v>
                </c:pt>
                <c:pt idx="4">
                  <c:v>4601.68</c:v>
                </c:pt>
                <c:pt idx="5">
                  <c:v>4643.5958333333301</c:v>
                </c:pt>
                <c:pt idx="6">
                  <c:v>4821.2974999999997</c:v>
                </c:pt>
                <c:pt idx="7">
                  <c:v>4885.0749999999998</c:v>
                </c:pt>
                <c:pt idx="8">
                  <c:v>4972.0209999999997</c:v>
                </c:pt>
                <c:pt idx="9">
                  <c:v>5127.7668333333304</c:v>
                </c:pt>
                <c:pt idx="10">
                  <c:v>5188.6708333333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Percentuale di donne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706779904993098</c:v>
                </c:pt>
                <c:pt idx="1">
                  <c:v>16.869850128369801</c:v>
                </c:pt>
                <c:pt idx="2">
                  <c:v>16.9864016168254</c:v>
                </c:pt>
                <c:pt idx="3">
                  <c:v>17.086566956641398</c:v>
                </c:pt>
                <c:pt idx="4">
                  <c:v>17.294466952361901</c:v>
                </c:pt>
                <c:pt idx="5">
                  <c:v>17.743488314596998</c:v>
                </c:pt>
                <c:pt idx="6">
                  <c:v>18.388368529331199</c:v>
                </c:pt>
                <c:pt idx="7">
                  <c:v>18.807508997179099</c:v>
                </c:pt>
                <c:pt idx="8">
                  <c:v>19.004231973653201</c:v>
                </c:pt>
                <c:pt idx="9">
                  <c:v>19.434275579273599</c:v>
                </c:pt>
                <c:pt idx="10">
                  <c:v>19.938913781608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4056853430511262E-2"/>
          <c:y val="0.86376820414170452"/>
          <c:w val="0.9331882171753324"/>
          <c:h val="0.106874244744039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362</cdr:x>
      <cdr:y>0.0606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0994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FTE</a:t>
          </a:r>
        </a:p>
      </cdr:txBody>
    </cdr:sp>
  </cdr:relSizeAnchor>
  <cdr:relSizeAnchor xmlns:cdr="http://schemas.openxmlformats.org/drawingml/2006/chartDrawing">
    <cdr:from>
      <cdr:x>0.94709</cdr:x>
      <cdr:y>0</cdr:y>
    </cdr:from>
    <cdr:to>
      <cdr:x>1</cdr:x>
      <cdr:y>0.060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732319" y="0"/>
          <a:ext cx="48788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% </a:t>
          </a:r>
          <a:r>
            <a:rPr lang="de-CH" sz="11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coll</a:t>
          </a:r>
          <a:r>
            <a:rPr lang="de-CH" sz="11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15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rganico del Gruppo FF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58229747"/>
              </p:ext>
            </p:extLst>
          </p:nvPr>
        </p:nvGraphicFramePr>
        <p:xfrm>
          <a:off x="1494169" y="1886295"/>
          <a:ext cx="9220200" cy="4206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ollaboratrici e collaboratori a tempo pieno nella media annua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3883" y="5972418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6440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3EE8BF-2461-489E-815E-F77A16129F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http://schemas.microsoft.com/office/2006/documentManagement/types"/>
    <ds:schemaRef ds:uri="96e82a89-ba48-4728-b345-cf206dbec8f1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Organico del Gruppo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co del Gruppo FFS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